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B6C499-A0D8-BE8B-552D-BA84DCCC0651}" v="12" dt="2022-08-02T13:13:53.255"/>
    <p1510:client id="{78F15D45-BA73-4801-B191-D9360047A92F}" v="19" dt="2022-08-23T09:40:04.010"/>
    <p1510:client id="{D39E58E7-9600-EF6D-062C-8C41985B9CF9}" v="20" dt="2022-08-02T13:12:15.180"/>
    <p1510:client id="{E1F19FA7-CBD0-43E7-8BB8-99A48696DBFF}" v="41" dt="2023-01-03T10:17:57.9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341"/>
        <p:guide pos="3659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3/01/2023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3/01/2023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Insert comments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4292147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ck to insert </a:t>
            </a:r>
            <a:r>
              <a:rPr lang="fr-FR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vishnupillai704/Hotel-Management-Syste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.jpeg"/><Relationship Id="rId4" Type="http://schemas.openxmlformats.org/officeDocument/2006/relationships/hyperlink" Target="mailto:raubins.raj@capgemini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25013" y="2995613"/>
            <a:ext cx="4008437" cy="3359983"/>
          </a:xfrm>
        </p:spPr>
        <p:txBody>
          <a:bodyPr vert="horz" lIns="0" tIns="0" rIns="0" bIns="0" rtlCol="0" anchor="t">
            <a:noAutofit/>
          </a:bodyPr>
          <a:lstStyle/>
          <a:p>
            <a:pPr eaLnBrk="1" hangingPunct="1">
              <a:lnSpc>
                <a:spcPct val="114000"/>
              </a:lnSpc>
            </a:pPr>
            <a:r>
              <a:rPr lang="en-US" altLang="en-US" b="1" dirty="0"/>
              <a:t>Hotel Management System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en-US" dirty="0"/>
              <a:t>Completed end to end case study of Hotel Management System along with Autho with MongoDB database authentication, Swagger.</a:t>
            </a:r>
            <a:r>
              <a:rPr lang="en-US" altLang="en-US" dirty="0"/>
              <a:t> Material-UI and React Bootstrap used for user interface.</a:t>
            </a: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r>
              <a:rPr lang="en-IN" altLang="nl-NL" b="1" dirty="0"/>
              <a:t>HTML CSS JAVASCRIPT for web developers</a:t>
            </a:r>
            <a:endParaRPr lang="en-IN" altLang="nl-NL" b="1" dirty="0">
              <a:ea typeface="Verdana"/>
            </a:endParaRPr>
          </a:p>
          <a:p>
            <a:pPr eaLnBrk="1" hangingPunct="1">
              <a:lnSpc>
                <a:spcPct val="114000"/>
              </a:lnSpc>
            </a:pPr>
            <a:r>
              <a:rPr lang="en-IN" altLang="en-US" dirty="0"/>
              <a:t>Completed Design responsive web pages with Html , CSS and JavaScript.</a:t>
            </a:r>
            <a:endParaRPr lang="en-IN" altLang="en-US" dirty="0">
              <a:ea typeface="Verdana"/>
            </a:endParaRPr>
          </a:p>
          <a:p>
            <a:pPr eaLnBrk="1" hangingPunct="1">
              <a:lnSpc>
                <a:spcPct val="114000"/>
              </a:lnSpc>
            </a:pPr>
            <a:r>
              <a:rPr lang="en-IN" altLang="nl-NL" b="1" dirty="0"/>
              <a:t>Completed the Capgemini Adapt Java full stack react training</a:t>
            </a:r>
            <a:endParaRPr lang="en-IN" altLang="nl-NL" b="1" dirty="0">
              <a:ea typeface="Verdana"/>
            </a:endParaRPr>
          </a:p>
          <a:p>
            <a:pPr>
              <a:lnSpc>
                <a:spcPct val="113999"/>
              </a:lnSpc>
            </a:pPr>
            <a:endParaRPr lang="en-IN" altLang="nl-NL" b="1" dirty="0">
              <a:ea typeface="Verdana"/>
            </a:endParaRPr>
          </a:p>
          <a:p>
            <a:pPr eaLnBrk="1" hangingPunct="1">
              <a:lnSpc>
                <a:spcPct val="114000"/>
              </a:lnSpc>
            </a:pPr>
            <a:endParaRPr lang="en-IN" altLang="en-US">
              <a:ea typeface="Verdana"/>
            </a:endParaRPr>
          </a:p>
          <a:p>
            <a:pPr eaLnBrk="1" hangingPunct="1">
              <a:lnSpc>
                <a:spcPct val="114000"/>
              </a:lnSpc>
            </a:pPr>
            <a:endParaRPr lang="en-US" altLang="nl-NL" b="1">
              <a:ea typeface="Verdana"/>
            </a:endParaRPr>
          </a:p>
          <a:p>
            <a:pPr eaLnBrk="1" hangingPunct="1">
              <a:lnSpc>
                <a:spcPct val="114000"/>
              </a:lnSpc>
            </a:pPr>
            <a:endParaRPr lang="en-IN" altLang="en-US"/>
          </a:p>
          <a:p>
            <a:pPr>
              <a:lnSpc>
                <a:spcPct val="114000"/>
              </a:lnSpc>
            </a:pPr>
            <a:endParaRPr lang="en-IN" altLang="en-US">
              <a:solidFill>
                <a:srgbClr val="000000"/>
              </a:solidFill>
            </a:endParaRPr>
          </a:p>
          <a:p>
            <a:pPr>
              <a:lnSpc>
                <a:spcPct val="114000"/>
              </a:lnSpc>
            </a:pPr>
            <a:r>
              <a:rPr lang="en-IN" altLang="en-US" sz="800" b="1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vishnupillai704/Hotel-Management-System</a:t>
            </a:r>
            <a:endParaRPr lang="en-IN" altLang="en-US" sz="800" b="1" dirty="0">
              <a:solidFill>
                <a:srgbClr val="0070C0"/>
              </a:solidFill>
            </a:endParaRPr>
          </a:p>
          <a:p>
            <a:pPr>
              <a:lnSpc>
                <a:spcPct val="114000"/>
              </a:lnSpc>
            </a:pPr>
            <a:endParaRPr lang="en-IN" altLang="en-US"/>
          </a:p>
          <a:p>
            <a:pPr eaLnBrk="1" hangingPunct="1">
              <a:lnSpc>
                <a:spcPct val="114000"/>
              </a:lnSpc>
            </a:pPr>
            <a:endParaRPr lang="en-IN" altLang="en-US"/>
          </a:p>
          <a:p>
            <a:pPr eaLnBrk="1" hangingPunct="1">
              <a:lnSpc>
                <a:spcPct val="114000"/>
              </a:lnSpc>
            </a:pPr>
            <a:endParaRPr lang="en-IN" altLang="en-US"/>
          </a:p>
          <a:p>
            <a:pPr eaLnBrk="1" hangingPunct="1">
              <a:lnSpc>
                <a:spcPct val="114000"/>
              </a:lnSpc>
            </a:pPr>
            <a:endParaRPr lang="en-IN" altLang="en-US"/>
          </a:p>
          <a:p>
            <a:pPr eaLnBrk="1" hangingPunct="1">
              <a:lnSpc>
                <a:spcPct val="114000"/>
              </a:lnSpc>
            </a:pPr>
            <a:endParaRPr lang="en-IN" altLang="en-US"/>
          </a:p>
          <a:p>
            <a:pPr eaLnBrk="1" hangingPunct="1">
              <a:lnSpc>
                <a:spcPct val="114000"/>
              </a:lnSpc>
            </a:pPr>
            <a:endParaRPr lang="en-IN" altLang="en-US"/>
          </a:p>
          <a:p>
            <a:pPr eaLnBrk="1" hangingPunct="1">
              <a:lnSpc>
                <a:spcPct val="114000"/>
              </a:lnSpc>
            </a:pPr>
            <a:endParaRPr lang="en-US" altLang="nl-NL" b="1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11413" y="760905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37563" y="1083167"/>
            <a:ext cx="2374900" cy="491633"/>
          </a:xfrm>
        </p:spPr>
        <p:txBody>
          <a:bodyPr/>
          <a:lstStyle/>
          <a:p>
            <a:pPr eaLnBrk="1" hangingPunct="1"/>
            <a:endParaRPr lang="nl-NL" altLang="nl-NL"/>
          </a:p>
          <a:p>
            <a:pPr eaLnBrk="1" hangingPunct="1"/>
            <a:r>
              <a:rPr lang="nl-NL" altLang="nl-NL"/>
              <a:t>Chennai</a:t>
            </a:r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73425" y="1574800"/>
            <a:ext cx="2373313" cy="414338"/>
          </a:xfrm>
        </p:spPr>
        <p:txBody>
          <a:bodyPr/>
          <a:lstStyle/>
          <a:p>
            <a:pPr eaLnBrk="1" hangingPunct="1"/>
            <a:r>
              <a:rPr lang="nl-NL" altLang="nl-NL">
                <a:hlinkClick r:id="rId4"/>
              </a:rPr>
              <a:t>Vishnu.pillai@capgemini.com</a:t>
            </a:r>
            <a:r>
              <a:rPr lang="nl-NL" altLang="nl-NL"/>
              <a:t> 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48038" y="1836737"/>
            <a:ext cx="2382837" cy="413955"/>
          </a:xfrm>
        </p:spPr>
        <p:txBody>
          <a:bodyPr/>
          <a:lstStyle/>
          <a:p>
            <a:pPr eaLnBrk="1" hangingPunct="1"/>
            <a:r>
              <a:rPr lang="nl-NL" altLang="nl-NL"/>
              <a:t>+91 9818247951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96965" y="2995613"/>
            <a:ext cx="4057650" cy="2995587"/>
          </a:xfrm>
        </p:spPr>
        <p:txBody>
          <a:bodyPr vert="horz" lIns="0" tIns="0" rIns="0" bIns="0" rtlCol="0" anchor="t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Software Engineer who is Strong in frontend as well as backend development. Passionate about implementing and launching new projects.</a:t>
            </a:r>
            <a:endParaRPr lang="en-US" altLang="en-US" sz="1100" dirty="0">
              <a:ea typeface="Verdan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Ready to learn new technologies and implement them to further improve my knowledge. </a:t>
            </a:r>
            <a:endParaRPr lang="en-US" altLang="en-US" sz="1100" dirty="0">
              <a:ea typeface="Verdan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Development experience using </a:t>
            </a:r>
            <a:r>
              <a:rPr lang="en-US" altLang="en-US" sz="1100" dirty="0" err="1"/>
              <a:t>MongoDb</a:t>
            </a:r>
            <a:r>
              <a:rPr lang="en-US" altLang="en-US" sz="1100" dirty="0"/>
              <a:t> data .</a:t>
            </a:r>
            <a:endParaRPr lang="en-US" altLang="en-US" sz="1100" dirty="0">
              <a:ea typeface="Verdan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Has working knowledge on ReactJS(Hooks, HTML, CSS)and Java Spring boot Microservice Development using Spring framework on an intermediate level.</a:t>
            </a:r>
            <a:endParaRPr lang="en-US" altLang="en-US" sz="1100" dirty="0">
              <a:ea typeface="Verdan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nl-NL" dirty="0"/>
              <a:t>Also implemented </a:t>
            </a:r>
            <a:r>
              <a:rPr lang="en-US" altLang="nl-NL" dirty="0" err="1"/>
              <a:t>RabbitMq</a:t>
            </a:r>
            <a:r>
              <a:rPr lang="en-US" altLang="nl-NL" dirty="0"/>
              <a:t> as a messaging service in </a:t>
            </a:r>
            <a:r>
              <a:rPr lang="en-US" altLang="nl-NL" dirty="0" err="1"/>
              <a:t>Springboot</a:t>
            </a:r>
            <a:r>
              <a:rPr lang="en-US" altLang="nl-NL" dirty="0"/>
              <a:t> Microservice.</a:t>
            </a:r>
            <a:endParaRPr lang="en-US" altLang="nl-NL" dirty="0">
              <a:ea typeface="Verdana"/>
            </a:endParaRPr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36360" y="596900"/>
            <a:ext cx="2717800" cy="610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 anchor="t"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>
              <a:lnSpc>
                <a:spcPct val="114000"/>
              </a:lnSpc>
            </a:pPr>
            <a:r>
              <a:rPr lang="en-US" altLang="nl-NL" sz="1000">
                <a:latin typeface="Verdana"/>
                <a:ea typeface="Verdana"/>
              </a:rPr>
              <a:t>BTech in </a:t>
            </a:r>
            <a:endParaRPr lang="en-US" altLang="nl-NL" sz="1000"/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Mechanical Engineering: 2018 - 2022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00" b="1">
                <a:solidFill>
                  <a:srgbClr val="0070AD"/>
                </a:solidFill>
              </a:rPr>
            </a:br>
            <a:r>
              <a:rPr lang="en-US" altLang="nl-NL" sz="1200" b="1">
                <a:solidFill>
                  <a:srgbClr val="0070AD"/>
                </a:solidFill>
              </a:rPr>
              <a:t>Skills</a:t>
            </a:r>
            <a:br>
              <a:rPr lang="en-US" altLang="nl-NL" sz="1000" b="1">
                <a:solidFill>
                  <a:srgbClr val="0070AD"/>
                </a:solidFill>
              </a:rPr>
            </a:br>
            <a:r>
              <a:rPr lang="en-US" altLang="en-US" sz="1000"/>
              <a:t>Java 8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/>
              <a:t>Spring Boo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/>
              <a:t>Spring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/>
              <a:t>JPA CRUD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00" b="1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>
                <a:solidFill>
                  <a:srgbClr val="0070AD"/>
                </a:solidFill>
              </a:rPr>
              <a:t>MERN Stack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>
                <a:latin typeface="Verdana"/>
                <a:ea typeface="Verdana"/>
              </a:rPr>
              <a:t>ReactJ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>
                <a:latin typeface="Verdana"/>
                <a:ea typeface="Verdana"/>
              </a:rPr>
              <a:t>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>
                <a:solidFill>
                  <a:srgbClr val="0070AD"/>
                </a:solidFill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>
                <a:latin typeface="Verdana"/>
                <a:ea typeface="Verdana"/>
              </a:rPr>
              <a:t>No SQL database – 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>
                <a:solidFill>
                  <a:srgbClr val="0070AD"/>
                </a:solidFill>
              </a:rPr>
              <a:t>Web Technologies</a:t>
            </a:r>
            <a:endParaRPr lang="en-US" altLang="nl-NL" sz="1000"/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HTML5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>
                <a:latin typeface="Verdana"/>
                <a:ea typeface="Verdana"/>
              </a:rPr>
              <a:t>Javascrip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>
                <a:solidFill>
                  <a:srgbClr val="0070AD"/>
                </a:solidFill>
                <a:latin typeface="Verdana"/>
                <a:ea typeface="Verdana"/>
              </a:rPr>
              <a:t>Addon's</a:t>
            </a:r>
            <a:endParaRPr lang="en-US" altLang="nl-NL" sz="1000"/>
          </a:p>
          <a:p>
            <a:pPr eaLnBrk="1" hangingPunct="1">
              <a:lnSpc>
                <a:spcPct val="114000"/>
              </a:lnSpc>
            </a:pPr>
            <a:r>
              <a:rPr lang="en-US" altLang="nl-NL" sz="1000">
                <a:latin typeface="Verdana"/>
                <a:ea typeface="Verdana"/>
              </a:rPr>
              <a:t>GitHub</a:t>
            </a:r>
            <a:endParaRPr lang="en-US" altLang="nl-NL" sz="1000"/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Mave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Postma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>
                <a:latin typeface="Verdana"/>
                <a:ea typeface="Verdana"/>
              </a:rPr>
              <a:t>RabbitMQ</a:t>
            </a:r>
            <a:endParaRPr lang="en-US" altLang="nl-NL" sz="1000"/>
          </a:p>
          <a:p>
            <a:pPr eaLnBrk="1" hangingPunct="1">
              <a:lnSpc>
                <a:spcPct val="114000"/>
              </a:lnSpc>
            </a:pPr>
            <a:endParaRPr lang="en-US" altLang="nl-NL" sz="1000" b="1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Excellent 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/>
          </a:p>
          <a:p>
            <a:pPr eaLnBrk="1" hangingPunct="1">
              <a:lnSpc>
                <a:spcPct val="114000"/>
              </a:lnSpc>
            </a:pPr>
            <a:endParaRPr lang="en-US" altLang="nl-NL" sz="1000"/>
          </a:p>
          <a:p>
            <a:pPr eaLnBrk="1" hangingPunct="1">
              <a:lnSpc>
                <a:spcPct val="114000"/>
              </a:lnSpc>
            </a:pPr>
            <a:endParaRPr lang="en-US" altLang="nl-NL" sz="1000"/>
          </a:p>
          <a:p>
            <a:pPr eaLnBrk="1" hangingPunct="1">
              <a:lnSpc>
                <a:spcPct val="114000"/>
              </a:lnSpc>
            </a:pPr>
            <a:endParaRPr lang="en-US" altLang="nl-NL" sz="1000"/>
          </a:p>
          <a:p>
            <a:pPr eaLnBrk="1" hangingPunct="1">
              <a:lnSpc>
                <a:spcPct val="114000"/>
              </a:lnSpc>
            </a:pPr>
            <a:endParaRPr lang="en-US" altLang="nl-NL" sz="1000"/>
          </a:p>
          <a:p>
            <a:pPr eaLnBrk="1" hangingPunct="1">
              <a:lnSpc>
                <a:spcPct val="114000"/>
              </a:lnSpc>
            </a:pPr>
            <a:r>
              <a:rPr lang="en-US" altLang="nl-NL" sz="100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351584" y="290513"/>
            <a:ext cx="6339979" cy="306387"/>
          </a:xfrm>
        </p:spPr>
        <p:txBody>
          <a:bodyPr/>
          <a:lstStyle/>
          <a:p>
            <a:r>
              <a:rPr lang="en-IN" altLang="en-US"/>
              <a:t>Vishnu Pillai</a:t>
            </a:r>
          </a:p>
        </p:txBody>
      </p:sp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89138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4" name="Picture Placeholder 3"/>
          <p:cNvPicPr>
            <a:picLocks noGrp="1" noChangeAspect="1"/>
          </p:cNvPicPr>
          <p:nvPr>
            <p:ph type="pic" sz="quarter" idx="46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62" b="11562"/>
          <a:stretch>
            <a:fillRect/>
          </a:stretch>
        </p:blipFill>
        <p:spPr>
          <a:xfrm>
            <a:off x="398133" y="303762"/>
            <a:ext cx="1734208" cy="1735628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0ffb6ef-0000-48aa-9041-fb29fcb198e5">
      <Terms xmlns="http://schemas.microsoft.com/office/infopath/2007/PartnerControls"/>
    </lcf76f155ced4ddcb4097134ff3c332f>
    <TaxCatchAll xmlns="900c2a09-0d28-449b-b8ad-3e76d664ec4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3F2D984F0DC8B4F81A100EEA18D209A" ma:contentTypeVersion="12" ma:contentTypeDescription="Create a new document." ma:contentTypeScope="" ma:versionID="c8b7a84c3ffa203a33e73c9a0eacaf0c">
  <xsd:schema xmlns:xsd="http://www.w3.org/2001/XMLSchema" xmlns:xs="http://www.w3.org/2001/XMLSchema" xmlns:p="http://schemas.microsoft.com/office/2006/metadata/properties" xmlns:ns2="e0ffb6ef-0000-48aa-9041-fb29fcb198e5" xmlns:ns3="900c2a09-0d28-449b-b8ad-3e76d664ec44" targetNamespace="http://schemas.microsoft.com/office/2006/metadata/properties" ma:root="true" ma:fieldsID="9f1229bde29e73ea29286fbdda2b4ab6" ns2:_="" ns3:_="">
    <xsd:import namespace="e0ffb6ef-0000-48aa-9041-fb29fcb198e5"/>
    <xsd:import namespace="900c2a09-0d28-449b-b8ad-3e76d664ec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ffb6ef-0000-48aa-9041-fb29fcb198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0c2a09-0d28-449b-b8ad-3e76d664ec44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bdfe5ddd-bb25-4adb-93a2-938a30b22837}" ma:internalName="TaxCatchAll" ma:showField="CatchAllData" ma:web="900c2a09-0d28-449b-b8ad-3e76d664ec4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2EFE742-3A8E-4E5A-B843-9354826E5980}">
  <ds:schemaRefs>
    <ds:schemaRef ds:uri="900c2a09-0d28-449b-b8ad-3e76d664ec44"/>
    <ds:schemaRef ds:uri="e0ffb6ef-0000-48aa-9041-fb29fcb198e5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F418AC7-8E36-460E-88F9-339E73CD589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0ffb6ef-0000-48aa-9041-fb29fcb198e5"/>
    <ds:schemaRef ds:uri="900c2a09-0d28-449b-b8ad-3e76d664ec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Application>Microsoft Office PowerPoint</Application>
  <PresentationFormat>Widescreen</PresentationFormat>
  <Slides>1</Slides>
  <Notes>1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Capgemini Master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revision>9</cp:revision>
  <dcterms:created xsi:type="dcterms:W3CDTF">2017-12-08T05:27:40Z</dcterms:created>
  <dcterms:modified xsi:type="dcterms:W3CDTF">2023-01-03T10:18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F2D984F0DC8B4F81A100EEA18D209A</vt:lpwstr>
  </property>
  <property fmtid="{D5CDD505-2E9C-101B-9397-08002B2CF9AE}" pid="3" name="MediaServiceImageTags">
    <vt:lpwstr/>
  </property>
</Properties>
</file>